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F62F3E69-D638-4F8A-BAB4-2FB5C3CCF3FC}"/>
    <pc:docChg chg="modSld">
      <pc:chgData name="Meyer Raphael (PAR-ES)" userId="79615dfe-ed48-4e74-a40f-4f7b034c1c27" providerId="ADAL" clId="{F62F3E69-D638-4F8A-BAB4-2FB5C3CCF3FC}" dt="2023-03-08T08:22:57.955" v="13" actId="27918"/>
      <pc:docMkLst>
        <pc:docMk/>
      </pc:docMkLst>
      <pc:sldChg chg="mod">
        <pc:chgData name="Meyer Raphael (PAR-ES)" userId="79615dfe-ed48-4e74-a40f-4f7b034c1c27" providerId="ADAL" clId="{F62F3E69-D638-4F8A-BAB4-2FB5C3CCF3FC}" dt="2023-03-08T08:22:57.955" v="13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1AF9310-36A8-456C-89D4-051DE09B39F8}"/>
    <pc:docChg chg="modSld">
      <pc:chgData name="Weigel Stefan (PAR-EPS)" userId="fd3b2067-2981-4ad8-bf3a-d2e1004e4fa8" providerId="ADAL" clId="{C1AF9310-36A8-456C-89D4-051DE09B39F8}" dt="2024-02-16T10:50:06.283" v="31" actId="27918"/>
      <pc:docMkLst>
        <pc:docMk/>
      </pc:docMkLst>
      <pc:sldChg chg="mod">
        <pc:chgData name="Weigel Stefan (PAR-EPS)" userId="fd3b2067-2981-4ad8-bf3a-d2e1004e4fa8" providerId="ADAL" clId="{C1AF9310-36A8-456C-89D4-051DE09B39F8}" dt="2024-02-16T10:50:06.283" v="31" actId="27918"/>
        <pc:sldMkLst>
          <pc:docMk/>
          <pc:sldMk cId="2820921500" sldId="40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Weigel Stefan (PAR-EPS)" userId="fd3b2067-2981-4ad8-bf3a-d2e1004e4fa8" providerId="ADAL" clId="{A9FF87AC-580B-4196-80F3-4B0FC7E08E8B}"/>
    <pc:docChg chg="modSld">
      <pc:chgData name="Weigel Stefan (PAR-EPS)" userId="fd3b2067-2981-4ad8-bf3a-d2e1004e4fa8" providerId="ADAL" clId="{A9FF87AC-580B-4196-80F3-4B0FC7E08E8B}" dt="2024-02-16T10:52:11.362" v="8" actId="27918"/>
      <pc:docMkLst>
        <pc:docMk/>
      </pc:docMkLst>
      <pc:sldChg chg="modSp mod">
        <pc:chgData name="Weigel Stefan (PAR-EPS)" userId="fd3b2067-2981-4ad8-bf3a-d2e1004e4fa8" providerId="ADAL" clId="{A9FF87AC-580B-4196-80F3-4B0FC7E08E8B}" dt="2024-02-16T10:52:11.362" v="8" actId="27918"/>
        <pc:sldMkLst>
          <pc:docMk/>
          <pc:sldMk cId="2820921500" sldId="408"/>
        </pc:sldMkLst>
        <pc:spChg chg="mod">
          <ac:chgData name="Weigel Stefan (PAR-EPS)" userId="fd3b2067-2981-4ad8-bf3a-d2e1004e4fa8" providerId="ADAL" clId="{A9FF87AC-580B-4196-80F3-4B0FC7E08E8B}" dt="2024-02-16T10:51:36.461" v="0"/>
          <ac:spMkLst>
            <pc:docMk/>
            <pc:sldMk cId="2820921500" sldId="408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67619279552746E-2"/>
          <c:y val="9.1437582252467786E-2"/>
          <c:w val="0.90209275535455247"/>
          <c:h val="0.736321963790263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Noise barriers and walls (construction length in km)</c:v>
                </c:pt>
              </c:strCache>
            </c:strRef>
          </c:tx>
          <c:spPr>
            <a:solidFill>
              <a:srgbClr val="D9D9D9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A-8CC7-4B04-ACDA-F600E151D821}"/>
              </c:ext>
            </c:extLst>
          </c:dPt>
          <c:dPt>
            <c:idx val="1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9-8CC7-4B04-ACDA-F600E151D821}"/>
              </c:ext>
            </c:extLst>
          </c:dPt>
          <c:dPt>
            <c:idx val="2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8-8CC7-4B04-ACDA-F600E151D821}"/>
              </c:ext>
            </c:extLst>
          </c:dPt>
          <c:dPt>
            <c:idx val="3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7-8CC7-4B04-ACDA-F600E151D821}"/>
              </c:ext>
            </c:extLst>
          </c:dPt>
          <c:dPt>
            <c:idx val="4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6-8CC7-4B04-ACDA-F600E151D821}"/>
              </c:ext>
            </c:extLst>
          </c:dPt>
          <c:dPt>
            <c:idx val="5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5-8CC7-4B04-ACDA-F600E151D821}"/>
              </c:ext>
            </c:extLst>
          </c:dPt>
          <c:dPt>
            <c:idx val="6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4-8CC7-4B04-ACDA-F600E151D821}"/>
              </c:ext>
            </c:extLst>
          </c:dPt>
          <c:dPt>
            <c:idx val="7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3-8CC7-4B04-ACDA-F600E151D821}"/>
              </c:ext>
            </c:extLst>
          </c:dPt>
          <c:dPt>
            <c:idx val="8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2-8CC7-4B04-ACDA-F600E151D821}"/>
              </c:ext>
            </c:extLst>
          </c:dPt>
          <c:dPt>
            <c:idx val="9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8CC7-4B04-ACDA-F600E151D821}"/>
              </c:ext>
            </c:extLst>
          </c:dPt>
          <c:dPt>
            <c:idx val="10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F8BF-496B-ACD5-9C04F0408BD4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321.21557209999997</c:v>
                </c:pt>
                <c:pt idx="1">
                  <c:v>345.35845210000002</c:v>
                </c:pt>
                <c:pt idx="2">
                  <c:v>368.13877209999998</c:v>
                </c:pt>
                <c:pt idx="3">
                  <c:v>383.05045860000001</c:v>
                </c:pt>
                <c:pt idx="4">
                  <c:v>390.82165859999998</c:v>
                </c:pt>
                <c:pt idx="5">
                  <c:v>402.5056586</c:v>
                </c:pt>
                <c:pt idx="6">
                  <c:v>403.75584859999998</c:v>
                </c:pt>
                <c:pt idx="7">
                  <c:v>412.27625444639398</c:v>
                </c:pt>
                <c:pt idx="8">
                  <c:v>416.74980696325702</c:v>
                </c:pt>
                <c:pt idx="9">
                  <c:v>421.91321236947499</c:v>
                </c:pt>
                <c:pt idx="10">
                  <c:v>425.0173975114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65050624"/>
        <c:axId val="164956416"/>
      </c:barChart>
      <c:lineChart>
        <c:grouping val="standar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Low-noise freight wagons SBB Cargo Ltd (%)</c:v>
                </c:pt>
              </c:strCache>
            </c:strRef>
          </c:tx>
          <c:spPr>
            <a:ln>
              <a:solidFill>
                <a:srgbClr val="444444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</c:formatCode>
                <c:ptCount val="11"/>
                <c:pt idx="0">
                  <c:v>90.7201086956522</c:v>
                </c:pt>
                <c:pt idx="1">
                  <c:v>91.607981220657294</c:v>
                </c:pt>
                <c:pt idx="2">
                  <c:v>92.613812325797497</c:v>
                </c:pt>
                <c:pt idx="3">
                  <c:v>92.908876536971505</c:v>
                </c:pt>
                <c:pt idx="4">
                  <c:v>93.596059113300498</c:v>
                </c:pt>
                <c:pt idx="5">
                  <c:v>93.670172802404196</c:v>
                </c:pt>
                <c:pt idx="6">
                  <c:v>97.340214370782107</c:v>
                </c:pt>
                <c:pt idx="7">
                  <c:v>98.022199798183607</c:v>
                </c:pt>
                <c:pt idx="8">
                  <c:v>98.758295868122502</c:v>
                </c:pt>
                <c:pt idx="9">
                  <c:v>98.784458432819605</c:v>
                </c:pt>
                <c:pt idx="10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F8BF-496B-ACD5-9C04F0408BD4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Low-noise rolling stock SBB Passenger Services (%)</c:v>
                </c:pt>
              </c:strCache>
            </c:strRef>
          </c:tx>
          <c:spPr>
            <a:ln>
              <a:solidFill>
                <a:srgbClr val="C60018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.0</c:formatCode>
                <c:ptCount val="11"/>
                <c:pt idx="0">
                  <c:v>96.292209225336606</c:v>
                </c:pt>
                <c:pt idx="1">
                  <c:v>96.932377966860699</c:v>
                </c:pt>
                <c:pt idx="2">
                  <c:v>97.156819191470504</c:v>
                </c:pt>
                <c:pt idx="3">
                  <c:v>97.557184099489206</c:v>
                </c:pt>
                <c:pt idx="4">
                  <c:v>97.597204019222403</c:v>
                </c:pt>
                <c:pt idx="5">
                  <c:v>97.674418604651194</c:v>
                </c:pt>
                <c:pt idx="6">
                  <c:v>97.846153846153896</c:v>
                </c:pt>
                <c:pt idx="7">
                  <c:v>97.984344422700602</c:v>
                </c:pt>
                <c:pt idx="8">
                  <c:v>98.285936891312801</c:v>
                </c:pt>
                <c:pt idx="9">
                  <c:v>98.458574181117498</c:v>
                </c:pt>
                <c:pt idx="10">
                  <c:v>98.5537583254044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8BF-496B-ACD5-9C04F0408B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329280"/>
        <c:axId val="164954880"/>
      </c:lineChart>
      <c:catAx>
        <c:axId val="159329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64954880"/>
        <c:crosses val="autoZero"/>
        <c:auto val="1"/>
        <c:lblAlgn val="ctr"/>
        <c:lblOffset val="100"/>
        <c:noMultiLvlLbl val="0"/>
      </c:catAx>
      <c:valAx>
        <c:axId val="164954880"/>
        <c:scaling>
          <c:orientation val="minMax"/>
          <c:max val="100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159329280"/>
        <c:crosses val="autoZero"/>
        <c:crossBetween val="between"/>
        <c:majorUnit val="20"/>
        <c:dispUnits>
          <c:builtInUnit val="hundreds"/>
        </c:dispUnits>
      </c:valAx>
      <c:valAx>
        <c:axId val="164956416"/>
        <c:scaling>
          <c:orientation val="minMax"/>
          <c:max val="5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ln>
            <a:noFill/>
          </a:ln>
        </c:spPr>
        <c:crossAx val="165050624"/>
        <c:crosses val="max"/>
        <c:crossBetween val="between"/>
        <c:majorUnit val="100"/>
      </c:valAx>
      <c:catAx>
        <c:axId val="1650506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416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281302806491255E-2"/>
          <c:y val="0.89190526818841931"/>
          <c:w val="0.92302060588964441"/>
          <c:h val="0.1052976785183653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666</cdr:x>
      <cdr:y>0</cdr:y>
    </cdr:from>
    <cdr:to>
      <cdr:x>1</cdr:x>
      <cdr:y>0.05035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909176" y="-1881188"/>
          <a:ext cx="307849" cy="2011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km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DD1A60B-5654-418D-919D-139C4B10C0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DD1A60B-5654-418D-919D-139C4B10C0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Noise </a:t>
            </a:r>
            <a:r>
              <a:rPr lang="de-CH" dirty="0" err="1"/>
              <a:t>protection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227057985"/>
              </p:ext>
            </p:extLst>
          </p:nvPr>
        </p:nvGraphicFramePr>
        <p:xfrm>
          <a:off x="1487487" y="1881188"/>
          <a:ext cx="9217025" cy="39945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86F29B4-427F-4C02-96A8-38F75F539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209215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9F639671-1A8E-4731-96A6-0088518DB9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Noise protection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ise protection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2:4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